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F1EE83-9CF8-484C-B03B-B105648BAAB4}" v="73" dt="2023-03-05T15:04:17.49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555" y="48"/>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1DF1EE83-9CF8-484C-B03B-B105648BAAB4}"/>
    <pc:docChg chg="custSel addSld delSld modSld">
      <pc:chgData name="Roberto Gallardo" userId="49a044883f185952" providerId="LiveId" clId="{1DF1EE83-9CF8-484C-B03B-B105648BAAB4}" dt="2023-03-05T15:04:27.237" v="467" actId="1076"/>
      <pc:docMkLst>
        <pc:docMk/>
      </pc:docMkLst>
      <pc:sldChg chg="del">
        <pc:chgData name="Roberto Gallardo" userId="49a044883f185952" providerId="LiveId" clId="{1DF1EE83-9CF8-484C-B03B-B105648BAAB4}" dt="2023-02-25T14:51:59.958" v="255" actId="47"/>
        <pc:sldMkLst>
          <pc:docMk/>
          <pc:sldMk cId="1175010214" sldId="261"/>
        </pc:sldMkLst>
      </pc:sldChg>
      <pc:sldChg chg="addSp delSp modSp mod">
        <pc:chgData name="Roberto Gallardo" userId="49a044883f185952" providerId="LiveId" clId="{1DF1EE83-9CF8-484C-B03B-B105648BAAB4}" dt="2023-03-05T14:58:52.779" v="283" actId="1076"/>
        <pc:sldMkLst>
          <pc:docMk/>
          <pc:sldMk cId="1418533539" sldId="271"/>
        </pc:sldMkLst>
        <pc:picChg chg="add del mod">
          <ac:chgData name="Roberto Gallardo" userId="49a044883f185952" providerId="LiveId" clId="{1DF1EE83-9CF8-484C-B03B-B105648BAAB4}" dt="2023-03-05T14:11:39.745" v="256" actId="478"/>
          <ac:picMkLst>
            <pc:docMk/>
            <pc:sldMk cId="1418533539" sldId="271"/>
            <ac:picMk id="6" creationId="{E0222D74-30BE-C52E-409A-287E87800034}"/>
          </ac:picMkLst>
        </pc:picChg>
        <pc:picChg chg="add mod">
          <ac:chgData name="Roberto Gallardo" userId="49a044883f185952" providerId="LiveId" clId="{1DF1EE83-9CF8-484C-B03B-B105648BAAB4}" dt="2023-03-05T14:58:52.779" v="283" actId="1076"/>
          <ac:picMkLst>
            <pc:docMk/>
            <pc:sldMk cId="1418533539" sldId="271"/>
            <ac:picMk id="6" creationId="{E2A264C3-EB84-E4C5-67D8-10B30DE56686}"/>
          </ac:picMkLst>
        </pc:picChg>
      </pc:sldChg>
      <pc:sldChg chg="addSp delSp modSp mod">
        <pc:chgData name="Roberto Gallardo" userId="49a044883f185952" providerId="LiveId" clId="{1DF1EE83-9CF8-484C-B03B-B105648BAAB4}" dt="2023-03-05T15:00:49.748" v="333" actId="1076"/>
        <pc:sldMkLst>
          <pc:docMk/>
          <pc:sldMk cId="2124848710" sldId="281"/>
        </pc:sldMkLst>
        <pc:picChg chg="add del mod">
          <ac:chgData name="Roberto Gallardo" userId="49a044883f185952" providerId="LiveId" clId="{1DF1EE83-9CF8-484C-B03B-B105648BAAB4}" dt="2023-03-05T14:11:53.528" v="262" actId="478"/>
          <ac:picMkLst>
            <pc:docMk/>
            <pc:sldMk cId="2124848710" sldId="281"/>
            <ac:picMk id="6" creationId="{4BDFA53A-A373-738A-4C59-CB16D6F48E28}"/>
          </ac:picMkLst>
        </pc:picChg>
        <pc:picChg chg="add mod">
          <ac:chgData name="Roberto Gallardo" userId="49a044883f185952" providerId="LiveId" clId="{1DF1EE83-9CF8-484C-B03B-B105648BAAB4}" dt="2023-03-05T15:00:49.748" v="333" actId="1076"/>
          <ac:picMkLst>
            <pc:docMk/>
            <pc:sldMk cId="2124848710" sldId="281"/>
            <ac:picMk id="6" creationId="{5E27C786-A220-3044-344C-4C6175D2822F}"/>
          </ac:picMkLst>
        </pc:picChg>
      </pc:sldChg>
      <pc:sldChg chg="addSp delSp modSp mod">
        <pc:chgData name="Roberto Gallardo" userId="49a044883f185952" providerId="LiveId" clId="{1DF1EE83-9CF8-484C-B03B-B105648BAAB4}" dt="2023-03-05T15:01:15.150" v="353" actId="1038"/>
        <pc:sldMkLst>
          <pc:docMk/>
          <pc:sldMk cId="2028175529" sldId="282"/>
        </pc:sldMkLst>
        <pc:picChg chg="add mod">
          <ac:chgData name="Roberto Gallardo" userId="49a044883f185952" providerId="LiveId" clId="{1DF1EE83-9CF8-484C-B03B-B105648BAAB4}" dt="2023-03-05T15:01:15.150" v="353" actId="1038"/>
          <ac:picMkLst>
            <pc:docMk/>
            <pc:sldMk cId="2028175529" sldId="282"/>
            <ac:picMk id="7" creationId="{202D472B-CC0D-096C-D252-4006897BFE51}"/>
          </ac:picMkLst>
        </pc:picChg>
        <pc:picChg chg="add del mod">
          <ac:chgData name="Roberto Gallardo" userId="49a044883f185952" providerId="LiveId" clId="{1DF1EE83-9CF8-484C-B03B-B105648BAAB4}" dt="2023-03-05T14:11:55.055" v="263" actId="478"/>
          <ac:picMkLst>
            <pc:docMk/>
            <pc:sldMk cId="2028175529" sldId="282"/>
            <ac:picMk id="7" creationId="{4AAE4B37-270A-99F9-1CC7-C08A29359EF1}"/>
          </ac:picMkLst>
        </pc:picChg>
      </pc:sldChg>
      <pc:sldChg chg="addSp delSp modSp mod">
        <pc:chgData name="Roberto Gallardo" userId="49a044883f185952" providerId="LiveId" clId="{1DF1EE83-9CF8-484C-B03B-B105648BAAB4}" dt="2023-03-05T15:01:35.270" v="362" actId="1076"/>
        <pc:sldMkLst>
          <pc:docMk/>
          <pc:sldMk cId="1326517747" sldId="283"/>
        </pc:sldMkLst>
        <pc:picChg chg="add del mod">
          <ac:chgData name="Roberto Gallardo" userId="49a044883f185952" providerId="LiveId" clId="{1DF1EE83-9CF8-484C-B03B-B105648BAAB4}" dt="2023-03-05T14:11:56.599" v="264" actId="478"/>
          <ac:picMkLst>
            <pc:docMk/>
            <pc:sldMk cId="1326517747" sldId="283"/>
            <ac:picMk id="7" creationId="{9942BD1F-8E70-5625-905F-1C9C12CC9CF6}"/>
          </ac:picMkLst>
        </pc:picChg>
        <pc:picChg chg="add mod">
          <ac:chgData name="Roberto Gallardo" userId="49a044883f185952" providerId="LiveId" clId="{1DF1EE83-9CF8-484C-B03B-B105648BAAB4}" dt="2023-03-05T15:01:35.270" v="362" actId="1076"/>
          <ac:picMkLst>
            <pc:docMk/>
            <pc:sldMk cId="1326517747" sldId="283"/>
            <ac:picMk id="7" creationId="{F59C638E-7A79-A091-CCEA-DAB401979917}"/>
          </ac:picMkLst>
        </pc:picChg>
      </pc:sldChg>
      <pc:sldChg chg="addSp delSp modSp mod">
        <pc:chgData name="Roberto Gallardo" userId="49a044883f185952" providerId="LiveId" clId="{1DF1EE83-9CF8-484C-B03B-B105648BAAB4}" dt="2023-03-05T15:01:53.291" v="373" actId="1076"/>
        <pc:sldMkLst>
          <pc:docMk/>
          <pc:sldMk cId="783739251" sldId="284"/>
        </pc:sldMkLst>
        <pc:picChg chg="add del mod">
          <ac:chgData name="Roberto Gallardo" userId="49a044883f185952" providerId="LiveId" clId="{1DF1EE83-9CF8-484C-B03B-B105648BAAB4}" dt="2023-03-05T14:11:58.889" v="265" actId="478"/>
          <ac:picMkLst>
            <pc:docMk/>
            <pc:sldMk cId="783739251" sldId="284"/>
            <ac:picMk id="7" creationId="{33FEA54B-D507-AB21-DAC3-AC55A0C300E8}"/>
          </ac:picMkLst>
        </pc:picChg>
        <pc:picChg chg="add mod">
          <ac:chgData name="Roberto Gallardo" userId="49a044883f185952" providerId="LiveId" clId="{1DF1EE83-9CF8-484C-B03B-B105648BAAB4}" dt="2023-03-05T15:01:53.291" v="373" actId="1076"/>
          <ac:picMkLst>
            <pc:docMk/>
            <pc:sldMk cId="783739251" sldId="284"/>
            <ac:picMk id="7" creationId="{4930ED46-6BB0-F3E1-4212-944F0D30D118}"/>
          </ac:picMkLst>
        </pc:picChg>
      </pc:sldChg>
      <pc:sldChg chg="addSp delSp modSp mod">
        <pc:chgData name="Roberto Gallardo" userId="49a044883f185952" providerId="LiveId" clId="{1DF1EE83-9CF8-484C-B03B-B105648BAAB4}" dt="2023-03-05T15:02:07.777" v="382" actId="1076"/>
        <pc:sldMkLst>
          <pc:docMk/>
          <pc:sldMk cId="1676122233" sldId="285"/>
        </pc:sldMkLst>
        <pc:picChg chg="add mod">
          <ac:chgData name="Roberto Gallardo" userId="49a044883f185952" providerId="LiveId" clId="{1DF1EE83-9CF8-484C-B03B-B105648BAAB4}" dt="2023-03-05T15:02:07.777" v="382" actId="1076"/>
          <ac:picMkLst>
            <pc:docMk/>
            <pc:sldMk cId="1676122233" sldId="285"/>
            <ac:picMk id="7" creationId="{46C0E122-FE64-7CA1-6812-8F1931C9934D}"/>
          </ac:picMkLst>
        </pc:picChg>
        <pc:picChg chg="add del mod">
          <ac:chgData name="Roberto Gallardo" userId="49a044883f185952" providerId="LiveId" clId="{1DF1EE83-9CF8-484C-B03B-B105648BAAB4}" dt="2023-03-05T14:12:00.384" v="266" actId="478"/>
          <ac:picMkLst>
            <pc:docMk/>
            <pc:sldMk cId="1676122233" sldId="285"/>
            <ac:picMk id="7" creationId="{D89B50F7-CE70-5F1F-1579-7CF34FBBCA70}"/>
          </ac:picMkLst>
        </pc:picChg>
      </pc:sldChg>
      <pc:sldChg chg="addSp delSp modSp mod">
        <pc:chgData name="Roberto Gallardo" userId="49a044883f185952" providerId="LiveId" clId="{1DF1EE83-9CF8-484C-B03B-B105648BAAB4}" dt="2023-03-05T15:02:25.513" v="393" actId="1076"/>
        <pc:sldMkLst>
          <pc:docMk/>
          <pc:sldMk cId="3100398757" sldId="286"/>
        </pc:sldMkLst>
        <pc:picChg chg="add mod">
          <ac:chgData name="Roberto Gallardo" userId="49a044883f185952" providerId="LiveId" clId="{1DF1EE83-9CF8-484C-B03B-B105648BAAB4}" dt="2023-03-05T15:02:25.513" v="393" actId="1076"/>
          <ac:picMkLst>
            <pc:docMk/>
            <pc:sldMk cId="3100398757" sldId="286"/>
            <ac:picMk id="7" creationId="{2F6C843D-F99E-385D-46B2-DEE3FDB6B3F5}"/>
          </ac:picMkLst>
        </pc:picChg>
        <pc:picChg chg="add del mod">
          <ac:chgData name="Roberto Gallardo" userId="49a044883f185952" providerId="LiveId" clId="{1DF1EE83-9CF8-484C-B03B-B105648BAAB4}" dt="2023-03-05T14:12:02.166" v="267" actId="478"/>
          <ac:picMkLst>
            <pc:docMk/>
            <pc:sldMk cId="3100398757" sldId="286"/>
            <ac:picMk id="7" creationId="{FB6A9C67-E2F1-4779-7774-C02F54B76C8A}"/>
          </ac:picMkLst>
        </pc:picChg>
      </pc:sldChg>
      <pc:sldChg chg="addSp delSp modSp mod">
        <pc:chgData name="Roberto Gallardo" userId="49a044883f185952" providerId="LiveId" clId="{1DF1EE83-9CF8-484C-B03B-B105648BAAB4}" dt="2023-03-05T15:02:43.101" v="403" actId="1076"/>
        <pc:sldMkLst>
          <pc:docMk/>
          <pc:sldMk cId="1546475425" sldId="287"/>
        </pc:sldMkLst>
        <pc:picChg chg="add del mod">
          <ac:chgData name="Roberto Gallardo" userId="49a044883f185952" providerId="LiveId" clId="{1DF1EE83-9CF8-484C-B03B-B105648BAAB4}" dt="2023-03-05T14:12:03.606" v="268" actId="478"/>
          <ac:picMkLst>
            <pc:docMk/>
            <pc:sldMk cId="1546475425" sldId="287"/>
            <ac:picMk id="7" creationId="{017C0D02-E5CF-186E-9DC5-3144F25D7EBF}"/>
          </ac:picMkLst>
        </pc:picChg>
        <pc:picChg chg="add mod">
          <ac:chgData name="Roberto Gallardo" userId="49a044883f185952" providerId="LiveId" clId="{1DF1EE83-9CF8-484C-B03B-B105648BAAB4}" dt="2023-03-05T15:02:43.101" v="403" actId="1076"/>
          <ac:picMkLst>
            <pc:docMk/>
            <pc:sldMk cId="1546475425" sldId="287"/>
            <ac:picMk id="7" creationId="{EBBB7391-F0D1-A7ED-71EF-9A1951AADF1B}"/>
          </ac:picMkLst>
        </pc:picChg>
      </pc:sldChg>
      <pc:sldChg chg="addSp delSp modSp mod">
        <pc:chgData name="Roberto Gallardo" userId="49a044883f185952" providerId="LiveId" clId="{1DF1EE83-9CF8-484C-B03B-B105648BAAB4}" dt="2023-03-05T15:03:17.265" v="423" actId="1076"/>
        <pc:sldMkLst>
          <pc:docMk/>
          <pc:sldMk cId="1380517306" sldId="288"/>
        </pc:sldMkLst>
        <pc:picChg chg="add mod">
          <ac:chgData name="Roberto Gallardo" userId="49a044883f185952" providerId="LiveId" clId="{1DF1EE83-9CF8-484C-B03B-B105648BAAB4}" dt="2023-03-05T15:03:17.265" v="423" actId="1076"/>
          <ac:picMkLst>
            <pc:docMk/>
            <pc:sldMk cId="1380517306" sldId="288"/>
            <ac:picMk id="7" creationId="{674EFD42-3ED4-1EF6-3777-D4B6B0D5BF97}"/>
          </ac:picMkLst>
        </pc:picChg>
        <pc:picChg chg="add del mod">
          <ac:chgData name="Roberto Gallardo" userId="49a044883f185952" providerId="LiveId" clId="{1DF1EE83-9CF8-484C-B03B-B105648BAAB4}" dt="2023-03-05T14:12:07.460" v="270" actId="478"/>
          <ac:picMkLst>
            <pc:docMk/>
            <pc:sldMk cId="1380517306" sldId="288"/>
            <ac:picMk id="7" creationId="{6DAAB0C0-C8D2-CFEE-0D43-27D1F99B5F6C}"/>
          </ac:picMkLst>
        </pc:picChg>
      </pc:sldChg>
      <pc:sldChg chg="addSp delSp modSp mod">
        <pc:chgData name="Roberto Gallardo" userId="49a044883f185952" providerId="LiveId" clId="{1DF1EE83-9CF8-484C-B03B-B105648BAAB4}" dt="2023-03-05T15:03:34.546" v="433" actId="1076"/>
        <pc:sldMkLst>
          <pc:docMk/>
          <pc:sldMk cId="1388671151" sldId="289"/>
        </pc:sldMkLst>
        <pc:picChg chg="add mod">
          <ac:chgData name="Roberto Gallardo" userId="49a044883f185952" providerId="LiveId" clId="{1DF1EE83-9CF8-484C-B03B-B105648BAAB4}" dt="2023-03-05T15:03:34.546" v="433" actId="1076"/>
          <ac:picMkLst>
            <pc:docMk/>
            <pc:sldMk cId="1388671151" sldId="289"/>
            <ac:picMk id="7" creationId="{0B28E686-7B21-C761-CC3C-F6DB7AF53305}"/>
          </ac:picMkLst>
        </pc:picChg>
        <pc:picChg chg="add del mod">
          <ac:chgData name="Roberto Gallardo" userId="49a044883f185952" providerId="LiveId" clId="{1DF1EE83-9CF8-484C-B03B-B105648BAAB4}" dt="2023-03-05T14:12:09.656" v="271" actId="478"/>
          <ac:picMkLst>
            <pc:docMk/>
            <pc:sldMk cId="1388671151" sldId="289"/>
            <ac:picMk id="7" creationId="{35BB4401-25A3-4EDF-A1A6-B062D3D1ABB1}"/>
          </ac:picMkLst>
        </pc:picChg>
      </pc:sldChg>
      <pc:sldChg chg="addSp delSp modSp mod">
        <pc:chgData name="Roberto Gallardo" userId="49a044883f185952" providerId="LiveId" clId="{1DF1EE83-9CF8-484C-B03B-B105648BAAB4}" dt="2023-03-05T15:04:11.441" v="457" actId="1036"/>
        <pc:sldMkLst>
          <pc:docMk/>
          <pc:sldMk cId="2355376039" sldId="290"/>
        </pc:sldMkLst>
        <pc:picChg chg="add del mod">
          <ac:chgData name="Roberto Gallardo" userId="49a044883f185952" providerId="LiveId" clId="{1DF1EE83-9CF8-484C-B03B-B105648BAAB4}" dt="2023-03-05T14:12:13.964" v="273" actId="478"/>
          <ac:picMkLst>
            <pc:docMk/>
            <pc:sldMk cId="2355376039" sldId="290"/>
            <ac:picMk id="8" creationId="{8C86C379-5C61-8AEC-F33A-309E5559C25C}"/>
          </ac:picMkLst>
        </pc:picChg>
        <pc:picChg chg="add mod">
          <ac:chgData name="Roberto Gallardo" userId="49a044883f185952" providerId="LiveId" clId="{1DF1EE83-9CF8-484C-B03B-B105648BAAB4}" dt="2023-03-05T15:04:11.441" v="457" actId="1036"/>
          <ac:picMkLst>
            <pc:docMk/>
            <pc:sldMk cId="2355376039" sldId="290"/>
            <ac:picMk id="8" creationId="{97D7A700-EBB5-5471-6887-750775A151B1}"/>
          </ac:picMkLst>
        </pc:picChg>
      </pc:sldChg>
      <pc:sldChg chg="addSp delSp modSp mod">
        <pc:chgData name="Roberto Gallardo" userId="49a044883f185952" providerId="LiveId" clId="{1DF1EE83-9CF8-484C-B03B-B105648BAAB4}" dt="2023-03-05T15:04:27.237" v="467" actId="1076"/>
        <pc:sldMkLst>
          <pc:docMk/>
          <pc:sldMk cId="3757257295" sldId="291"/>
        </pc:sldMkLst>
        <pc:picChg chg="add mod">
          <ac:chgData name="Roberto Gallardo" userId="49a044883f185952" providerId="LiveId" clId="{1DF1EE83-9CF8-484C-B03B-B105648BAAB4}" dt="2023-03-05T15:04:27.237" v="467" actId="1076"/>
          <ac:picMkLst>
            <pc:docMk/>
            <pc:sldMk cId="3757257295" sldId="291"/>
            <ac:picMk id="8" creationId="{57F772CE-A2F1-4AA6-1995-F91A21C8E90B}"/>
          </ac:picMkLst>
        </pc:picChg>
        <pc:picChg chg="add del mod">
          <ac:chgData name="Roberto Gallardo" userId="49a044883f185952" providerId="LiveId" clId="{1DF1EE83-9CF8-484C-B03B-B105648BAAB4}" dt="2023-03-05T14:12:15.580" v="274" actId="478"/>
          <ac:picMkLst>
            <pc:docMk/>
            <pc:sldMk cId="3757257295" sldId="291"/>
            <ac:picMk id="8" creationId="{F33AF429-9EC8-9F08-D1D9-2B4902C9B38B}"/>
          </ac:picMkLst>
        </pc:picChg>
      </pc:sldChg>
      <pc:sldChg chg="addSp delSp modSp mod">
        <pc:chgData name="Roberto Gallardo" userId="49a044883f185952" providerId="LiveId" clId="{1DF1EE83-9CF8-484C-B03B-B105648BAAB4}" dt="2023-03-05T15:03:01.505" v="413" actId="1076"/>
        <pc:sldMkLst>
          <pc:docMk/>
          <pc:sldMk cId="1259856727" sldId="292"/>
        </pc:sldMkLst>
        <pc:picChg chg="add del mod">
          <ac:chgData name="Roberto Gallardo" userId="49a044883f185952" providerId="LiveId" clId="{1DF1EE83-9CF8-484C-B03B-B105648BAAB4}" dt="2023-03-05T14:12:05.264" v="269" actId="478"/>
          <ac:picMkLst>
            <pc:docMk/>
            <pc:sldMk cId="1259856727" sldId="292"/>
            <ac:picMk id="7" creationId="{47A624DD-D4E6-CB77-6A97-CC180DA2E1B1}"/>
          </ac:picMkLst>
        </pc:picChg>
        <pc:picChg chg="add mod">
          <ac:chgData name="Roberto Gallardo" userId="49a044883f185952" providerId="LiveId" clId="{1DF1EE83-9CF8-484C-B03B-B105648BAAB4}" dt="2023-03-05T15:03:01.505" v="413" actId="1076"/>
          <ac:picMkLst>
            <pc:docMk/>
            <pc:sldMk cId="1259856727" sldId="292"/>
            <ac:picMk id="7" creationId="{D26A5C3D-E25F-69FF-4342-84318AED13F0}"/>
          </ac:picMkLst>
        </pc:picChg>
      </pc:sldChg>
      <pc:sldChg chg="addSp delSp modSp mod">
        <pc:chgData name="Roberto Gallardo" userId="49a044883f185952" providerId="LiveId" clId="{1DF1EE83-9CF8-484C-B03B-B105648BAAB4}" dt="2023-03-05T15:00:35.085" v="323" actId="1076"/>
        <pc:sldMkLst>
          <pc:docMk/>
          <pc:sldMk cId="3324519687" sldId="293"/>
        </pc:sldMkLst>
        <pc:picChg chg="add mod">
          <ac:chgData name="Roberto Gallardo" userId="49a044883f185952" providerId="LiveId" clId="{1DF1EE83-9CF8-484C-B03B-B105648BAAB4}" dt="2023-03-05T15:00:35.085" v="323" actId="1076"/>
          <ac:picMkLst>
            <pc:docMk/>
            <pc:sldMk cId="3324519687" sldId="293"/>
            <ac:picMk id="7" creationId="{B1D99773-9955-692C-BA76-E677CFC734FA}"/>
          </ac:picMkLst>
        </pc:picChg>
        <pc:picChg chg="add del mod">
          <ac:chgData name="Roberto Gallardo" userId="49a044883f185952" providerId="LiveId" clId="{1DF1EE83-9CF8-484C-B03B-B105648BAAB4}" dt="2023-03-05T14:11:51.884" v="261" actId="478"/>
          <ac:picMkLst>
            <pc:docMk/>
            <pc:sldMk cId="3324519687" sldId="293"/>
            <ac:picMk id="7" creationId="{B8EE3807-41F7-683A-3011-4CA4AEB0E0A3}"/>
          </ac:picMkLst>
        </pc:picChg>
      </pc:sldChg>
      <pc:sldChg chg="addSp delSp modSp mod">
        <pc:chgData name="Roberto Gallardo" userId="49a044883f185952" providerId="LiveId" clId="{1DF1EE83-9CF8-484C-B03B-B105648BAAB4}" dt="2023-03-05T14:59:57.203" v="304" actId="1076"/>
        <pc:sldMkLst>
          <pc:docMk/>
          <pc:sldMk cId="3256182630" sldId="295"/>
        </pc:sldMkLst>
        <pc:picChg chg="add mod">
          <ac:chgData name="Roberto Gallardo" userId="49a044883f185952" providerId="LiveId" clId="{1DF1EE83-9CF8-484C-B03B-B105648BAAB4}" dt="2023-03-05T14:59:57.203" v="304" actId="1076"/>
          <ac:picMkLst>
            <pc:docMk/>
            <pc:sldMk cId="3256182630" sldId="295"/>
            <ac:picMk id="7" creationId="{800218FE-CE51-7CEB-7718-A2F25FE84284}"/>
          </ac:picMkLst>
        </pc:picChg>
        <pc:picChg chg="add del mod">
          <ac:chgData name="Roberto Gallardo" userId="49a044883f185952" providerId="LiveId" clId="{1DF1EE83-9CF8-484C-B03B-B105648BAAB4}" dt="2023-03-05T14:11:46.294" v="259" actId="478"/>
          <ac:picMkLst>
            <pc:docMk/>
            <pc:sldMk cId="3256182630" sldId="295"/>
            <ac:picMk id="7" creationId="{84ED83CB-BA3A-4E9D-9DF3-9863649AC94E}"/>
          </ac:picMkLst>
        </pc:picChg>
      </pc:sldChg>
      <pc:sldChg chg="addSp delSp modSp mod">
        <pc:chgData name="Roberto Gallardo" userId="49a044883f185952" providerId="LiveId" clId="{1DF1EE83-9CF8-484C-B03B-B105648BAAB4}" dt="2023-03-05T15:00:19.085" v="313" actId="1076"/>
        <pc:sldMkLst>
          <pc:docMk/>
          <pc:sldMk cId="4057156843" sldId="296"/>
        </pc:sldMkLst>
        <pc:picChg chg="add mod">
          <ac:chgData name="Roberto Gallardo" userId="49a044883f185952" providerId="LiveId" clId="{1DF1EE83-9CF8-484C-B03B-B105648BAAB4}" dt="2023-03-05T15:00:19.085" v="313" actId="1076"/>
          <ac:picMkLst>
            <pc:docMk/>
            <pc:sldMk cId="4057156843" sldId="296"/>
            <ac:picMk id="7" creationId="{33B93423-AC2C-14B6-FA3C-B8DDBB16351B}"/>
          </ac:picMkLst>
        </pc:picChg>
        <pc:picChg chg="add del mod">
          <ac:chgData name="Roberto Gallardo" userId="49a044883f185952" providerId="LiveId" clId="{1DF1EE83-9CF8-484C-B03B-B105648BAAB4}" dt="2023-03-05T14:11:49.049" v="260" actId="478"/>
          <ac:picMkLst>
            <pc:docMk/>
            <pc:sldMk cId="4057156843" sldId="296"/>
            <ac:picMk id="7" creationId="{F28E64EB-374E-C0AA-95A8-D4814FF2FD8F}"/>
          </ac:picMkLst>
        </pc:picChg>
      </pc:sldChg>
      <pc:sldChg chg="addSp delSp modSp mod">
        <pc:chgData name="Roberto Gallardo" userId="49a044883f185952" providerId="LiveId" clId="{1DF1EE83-9CF8-484C-B03B-B105648BAAB4}" dt="2023-03-05T14:59:29.763" v="297" actId="1076"/>
        <pc:sldMkLst>
          <pc:docMk/>
          <pc:sldMk cId="2080110827" sldId="297"/>
        </pc:sldMkLst>
        <pc:picChg chg="add mod">
          <ac:chgData name="Roberto Gallardo" userId="49a044883f185952" providerId="LiveId" clId="{1DF1EE83-9CF8-484C-B03B-B105648BAAB4}" dt="2023-03-05T14:59:29.763" v="297" actId="1076"/>
          <ac:picMkLst>
            <pc:docMk/>
            <pc:sldMk cId="2080110827" sldId="297"/>
            <ac:picMk id="6" creationId="{183E153D-DF33-FEED-059B-7D7CD3240017}"/>
          </ac:picMkLst>
        </pc:picChg>
        <pc:picChg chg="add del mod">
          <ac:chgData name="Roberto Gallardo" userId="49a044883f185952" providerId="LiveId" clId="{1DF1EE83-9CF8-484C-B03B-B105648BAAB4}" dt="2023-03-05T14:11:43.869" v="258" actId="478"/>
          <ac:picMkLst>
            <pc:docMk/>
            <pc:sldMk cId="2080110827" sldId="297"/>
            <ac:picMk id="6" creationId="{AA5A021E-01E7-8AFC-E5C5-8F3EFAC656E1}"/>
          </ac:picMkLst>
        </pc:picChg>
      </pc:sldChg>
      <pc:sldChg chg="addSp delSp modSp mod">
        <pc:chgData name="Roberto Gallardo" userId="49a044883f185952" providerId="LiveId" clId="{1DF1EE83-9CF8-484C-B03B-B105648BAAB4}" dt="2023-03-05T14:59:09.896" v="290" actId="1076"/>
        <pc:sldMkLst>
          <pc:docMk/>
          <pc:sldMk cId="1532666867" sldId="298"/>
        </pc:sldMkLst>
        <pc:picChg chg="add mod">
          <ac:chgData name="Roberto Gallardo" userId="49a044883f185952" providerId="LiveId" clId="{1DF1EE83-9CF8-484C-B03B-B105648BAAB4}" dt="2023-03-05T14:59:09.896" v="290" actId="1076"/>
          <ac:picMkLst>
            <pc:docMk/>
            <pc:sldMk cId="1532666867" sldId="298"/>
            <ac:picMk id="6" creationId="{1EA3A179-E313-1B8B-FEF1-75F18DFBECB2}"/>
          </ac:picMkLst>
        </pc:picChg>
        <pc:picChg chg="add del mod">
          <ac:chgData name="Roberto Gallardo" userId="49a044883f185952" providerId="LiveId" clId="{1DF1EE83-9CF8-484C-B03B-B105648BAAB4}" dt="2023-03-05T14:11:41.406" v="257" actId="478"/>
          <ac:picMkLst>
            <pc:docMk/>
            <pc:sldMk cId="1532666867" sldId="298"/>
            <ac:picMk id="6" creationId="{283B272D-8681-421F-41A0-309655DFFDF0}"/>
          </ac:picMkLst>
        </pc:picChg>
      </pc:sldChg>
      <pc:sldChg chg="addSp delSp modSp mod">
        <pc:chgData name="Roberto Gallardo" userId="49a044883f185952" providerId="LiveId" clId="{1DF1EE83-9CF8-484C-B03B-B105648BAAB4}" dt="2023-03-05T15:03:54.430" v="444" actId="1076"/>
        <pc:sldMkLst>
          <pc:docMk/>
          <pc:sldMk cId="1951376777" sldId="299"/>
        </pc:sldMkLst>
        <pc:picChg chg="add del mod">
          <ac:chgData name="Roberto Gallardo" userId="49a044883f185952" providerId="LiveId" clId="{1DF1EE83-9CF8-484C-B03B-B105648BAAB4}" dt="2023-03-05T14:12:12.376" v="272" actId="478"/>
          <ac:picMkLst>
            <pc:docMk/>
            <pc:sldMk cId="1951376777" sldId="299"/>
            <ac:picMk id="7" creationId="{9E059B5A-08F0-3CAE-410B-173F996E21E2}"/>
          </ac:picMkLst>
        </pc:picChg>
        <pc:picChg chg="add mod">
          <ac:chgData name="Roberto Gallardo" userId="49a044883f185952" providerId="LiveId" clId="{1DF1EE83-9CF8-484C-B03B-B105648BAAB4}" dt="2023-03-05T15:03:54.430" v="444" actId="1076"/>
          <ac:picMkLst>
            <pc:docMk/>
            <pc:sldMk cId="1951376777" sldId="299"/>
            <ac:picMk id="7" creationId="{C190D8C0-CD52-90AE-43BE-7D63F0D4436C}"/>
          </ac:picMkLst>
        </pc:picChg>
      </pc:sldChg>
      <pc:sldChg chg="modSp mod">
        <pc:chgData name="Roberto Gallardo" userId="49a044883f185952" providerId="LiveId" clId="{1DF1EE83-9CF8-484C-B03B-B105648BAAB4}" dt="2023-02-25T13:22:52.295" v="253" actId="20577"/>
        <pc:sldMkLst>
          <pc:docMk/>
          <pc:sldMk cId="1515423683" sldId="302"/>
        </pc:sldMkLst>
        <pc:spChg chg="mod">
          <ac:chgData name="Roberto Gallardo" userId="49a044883f185952" providerId="LiveId" clId="{1DF1EE83-9CF8-484C-B03B-B105648BAAB4}" dt="2023-02-25T13:22:52.295" v="253" actId="20577"/>
          <ac:spMkLst>
            <pc:docMk/>
            <pc:sldMk cId="1515423683" sldId="302"/>
            <ac:spMk id="5" creationId="{6AE302AC-8931-4144-BE52-DD1A8BA82462}"/>
          </ac:spMkLst>
        </pc:spChg>
        <pc:spChg chg="mod">
          <ac:chgData name="Roberto Gallardo" userId="49a044883f185952" providerId="LiveId" clId="{1DF1EE83-9CF8-484C-B03B-B105648BAAB4}" dt="2023-02-25T13:22:49.391" v="252" actId="20577"/>
          <ac:spMkLst>
            <pc:docMk/>
            <pc:sldMk cId="1515423683" sldId="302"/>
            <ac:spMk id="9" creationId="{E362A98F-7DCD-C67C-23CE-1BE182A133B4}"/>
          </ac:spMkLst>
        </pc:spChg>
      </pc:sldChg>
      <pc:sldChg chg="del">
        <pc:chgData name="Roberto Gallardo" userId="49a044883f185952" providerId="LiveId" clId="{1DF1EE83-9CF8-484C-B03B-B105648BAAB4}" dt="2023-02-25T14:51:59.958" v="255" actId="47"/>
        <pc:sldMkLst>
          <pc:docMk/>
          <pc:sldMk cId="2841628872" sldId="303"/>
        </pc:sldMkLst>
      </pc:sldChg>
      <pc:sldChg chg="del">
        <pc:chgData name="Roberto Gallardo" userId="49a044883f185952" providerId="LiveId" clId="{1DF1EE83-9CF8-484C-B03B-B105648BAAB4}" dt="2023-02-25T14:51:59.958" v="255" actId="47"/>
        <pc:sldMkLst>
          <pc:docMk/>
          <pc:sldMk cId="3084076302" sldId="304"/>
        </pc:sldMkLst>
      </pc:sldChg>
      <pc:sldChg chg="del">
        <pc:chgData name="Roberto Gallardo" userId="49a044883f185952" providerId="LiveId" clId="{1DF1EE83-9CF8-484C-B03B-B105648BAAB4}" dt="2023-02-25T14:51:59.958" v="255" actId="47"/>
        <pc:sldMkLst>
          <pc:docMk/>
          <pc:sldMk cId="473712435" sldId="305"/>
        </pc:sldMkLst>
      </pc:sldChg>
      <pc:sldChg chg="modSp mod">
        <pc:chgData name="Roberto Gallardo" userId="49a044883f185952" providerId="LiveId" clId="{1DF1EE83-9CF8-484C-B03B-B105648BAAB4}" dt="2023-02-24T21:17:05.504" v="75" actId="14100"/>
        <pc:sldMkLst>
          <pc:docMk/>
          <pc:sldMk cId="2366022307" sldId="306"/>
        </pc:sldMkLst>
        <pc:spChg chg="mod">
          <ac:chgData name="Roberto Gallardo" userId="49a044883f185952" providerId="LiveId" clId="{1DF1EE83-9CF8-484C-B03B-B105648BAAB4}" dt="2023-02-24T21:16:52.106" v="56" actId="1035"/>
          <ac:spMkLst>
            <pc:docMk/>
            <pc:sldMk cId="2366022307" sldId="306"/>
            <ac:spMk id="11" creationId="{09F5AE19-B4E3-7788-F25F-CDA80D596DAF}"/>
          </ac:spMkLst>
        </pc:spChg>
        <pc:cxnChg chg="mod">
          <ac:chgData name="Roberto Gallardo" userId="49a044883f185952" providerId="LiveId" clId="{1DF1EE83-9CF8-484C-B03B-B105648BAAB4}" dt="2023-02-24T21:17:00.628" v="74" actId="1035"/>
          <ac:cxnSpMkLst>
            <pc:docMk/>
            <pc:sldMk cId="2366022307" sldId="306"/>
            <ac:cxnSpMk id="26" creationId="{4FA35577-4238-5D8D-F083-D76255B4ABA5}"/>
          </ac:cxnSpMkLst>
        </pc:cxnChg>
        <pc:cxnChg chg="mod">
          <ac:chgData name="Roberto Gallardo" userId="49a044883f185952" providerId="LiveId" clId="{1DF1EE83-9CF8-484C-B03B-B105648BAAB4}" dt="2023-02-24T21:16:45.532" v="27" actId="1036"/>
          <ac:cxnSpMkLst>
            <pc:docMk/>
            <pc:sldMk cId="2366022307" sldId="306"/>
            <ac:cxnSpMk id="27" creationId="{F0CF8142-8895-D0A8-A662-E40568742508}"/>
          </ac:cxnSpMkLst>
        </pc:cxnChg>
        <pc:cxnChg chg="mod">
          <ac:chgData name="Roberto Gallardo" userId="49a044883f185952" providerId="LiveId" clId="{1DF1EE83-9CF8-484C-B03B-B105648BAAB4}" dt="2023-02-24T21:16:45.532" v="27" actId="1036"/>
          <ac:cxnSpMkLst>
            <pc:docMk/>
            <pc:sldMk cId="2366022307" sldId="306"/>
            <ac:cxnSpMk id="28" creationId="{15C28C80-F0E1-159F-F103-CEA53436F6F9}"/>
          </ac:cxnSpMkLst>
        </pc:cxnChg>
        <pc:cxnChg chg="mod">
          <ac:chgData name="Roberto Gallardo" userId="49a044883f185952" providerId="LiveId" clId="{1DF1EE83-9CF8-484C-B03B-B105648BAAB4}" dt="2023-02-24T21:17:05.504" v="75" actId="14100"/>
          <ac:cxnSpMkLst>
            <pc:docMk/>
            <pc:sldMk cId="2366022307" sldId="306"/>
            <ac:cxnSpMk id="29" creationId="{783CFD35-8D28-EF95-B783-8C1E52BEC855}"/>
          </ac:cxnSpMkLst>
        </pc:cxnChg>
      </pc:sldChg>
      <pc:sldChg chg="add">
        <pc:chgData name="Roberto Gallardo" userId="49a044883f185952" providerId="LiveId" clId="{1DF1EE83-9CF8-484C-B03B-B105648BAAB4}" dt="2023-02-25T14:51:57.215" v="254"/>
        <pc:sldMkLst>
          <pc:docMk/>
          <pc:sldMk cId="3036123923" sldId="307"/>
        </pc:sldMkLst>
      </pc:sldChg>
      <pc:sldChg chg="add">
        <pc:chgData name="Roberto Gallardo" userId="49a044883f185952" providerId="LiveId" clId="{1DF1EE83-9CF8-484C-B03B-B105648BAAB4}" dt="2023-02-25T14:51:57.215" v="254"/>
        <pc:sldMkLst>
          <pc:docMk/>
          <pc:sldMk cId="282937321" sldId="308"/>
        </pc:sldMkLst>
      </pc:sldChg>
      <pc:sldChg chg="add">
        <pc:chgData name="Roberto Gallardo" userId="49a044883f185952" providerId="LiveId" clId="{1DF1EE83-9CF8-484C-B03B-B105648BAAB4}" dt="2023-02-25T14:51:57.215" v="254"/>
        <pc:sldMkLst>
          <pc:docMk/>
          <pc:sldMk cId="3388211059" sldId="309"/>
        </pc:sldMkLst>
      </pc:sldChg>
      <pc:sldChg chg="add">
        <pc:chgData name="Roberto Gallardo" userId="49a044883f185952" providerId="LiveId" clId="{1DF1EE83-9CF8-484C-B03B-B105648BAAB4}" dt="2023-02-25T14:51:57.215" v="254"/>
        <pc:sldMkLst>
          <pc:docMk/>
          <pc:sldMk cId="1191312744"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Mecklenburg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65F3131-34A9-FE08-3AD3-B5F653561E0F}"/>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33882110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84357054-11D4-0B4F-2CC5-150091E6A3FF}"/>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11913127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E2A264C3-EB84-E4C5-67D8-10B30DE566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434" y="1024333"/>
            <a:ext cx="7602931" cy="5376467"/>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1EA3A179-E313-1B8B-FEF1-75F18DFBEC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8210" y="1028700"/>
            <a:ext cx="7599379" cy="5373955"/>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183E153D-DF33-FEED-059B-7D7CD32400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47376" y="1028700"/>
            <a:ext cx="7621048" cy="5389279"/>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2B78C530-551A-CE81-2044-D8748421D07D}"/>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a:extLst>
              <a:ext uri="{FF2B5EF4-FFF2-40B4-BE49-F238E27FC236}">
                <a16:creationId xmlns:a16="http://schemas.microsoft.com/office/drawing/2014/main" id="{800218FE-CE51-7CEB-7718-A2F25FE842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542" y="1414899"/>
            <a:ext cx="6401233" cy="4526678"/>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4304331-52B1-86AF-E0BA-9C7E66D87374}"/>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with medium confidence">
            <a:extLst>
              <a:ext uri="{FF2B5EF4-FFF2-40B4-BE49-F238E27FC236}">
                <a16:creationId xmlns:a16="http://schemas.microsoft.com/office/drawing/2014/main" id="{33B93423-AC2C-14B6-FA3C-B8DDBB1635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5" y="1413464"/>
            <a:ext cx="6400800"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A27F5132-8A29-0AA1-A4BF-8C3E7F68944E}"/>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Diagram&#10;&#10;Description automatically generated with medium confidence">
            <a:extLst>
              <a:ext uri="{FF2B5EF4-FFF2-40B4-BE49-F238E27FC236}">
                <a16:creationId xmlns:a16="http://schemas.microsoft.com/office/drawing/2014/main" id="{B1D99773-9955-692C-BA76-E677CFC734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DC8C1072-C27C-8191-7D70-73579A35E524}"/>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5E27C786-A220-3044-344C-4C6175D282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670"/>
            <a:ext cx="6400800" cy="4526372"/>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C0DF5644-48EB-1D9B-3E3A-AF7C9726F809}"/>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map&#10;&#10;Description automatically generated">
            <a:extLst>
              <a:ext uri="{FF2B5EF4-FFF2-40B4-BE49-F238E27FC236}">
                <a16:creationId xmlns:a16="http://schemas.microsoft.com/office/drawing/2014/main" id="{202D472B-CC0D-096C-D252-4006897BFE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5546" y="1412786"/>
            <a:ext cx="6402718" cy="4527727"/>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165E780E-8F28-BA1D-83AC-AAA127D8ABF7}"/>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59C638E-7A79-A091-CCEA-DAB4019799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2826" y="1401631"/>
            <a:ext cx="6400800"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9A9BDE8E-9CDC-2B85-BFF6-B0F2986404DD}"/>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930ED46-6BB0-F3E1-4212-944F0D30D1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917"/>
            <a:ext cx="6400801"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6DB00E6F-9608-785D-8D60-8B13310F0D32}"/>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with medium confidence">
            <a:extLst>
              <a:ext uri="{FF2B5EF4-FFF2-40B4-BE49-F238E27FC236}">
                <a16:creationId xmlns:a16="http://schemas.microsoft.com/office/drawing/2014/main" id="{46C0E122-FE64-7CA1-6812-8F1931C993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881" y="1408701"/>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581A9D3B-DB86-FD36-853F-86BB491BCBDA}"/>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diagram&#10;&#10;Description automatically generated">
            <a:extLst>
              <a:ext uri="{FF2B5EF4-FFF2-40B4-BE49-F238E27FC236}">
                <a16:creationId xmlns:a16="http://schemas.microsoft.com/office/drawing/2014/main" id="{2F6C843D-F99E-385D-46B2-DEE3FDB6B3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2122"/>
            <a:ext cx="6400800" cy="4526372"/>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649F8499-A99D-276A-C49B-566105C0AF9A}"/>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EBBB7391-F0D1-A7ED-71EF-9A1951AADF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66349ED4-F3B2-2D91-D778-A1A50D834A24}"/>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diagram&#10;&#10;Description automatically generated">
            <a:extLst>
              <a:ext uri="{FF2B5EF4-FFF2-40B4-BE49-F238E27FC236}">
                <a16:creationId xmlns:a16="http://schemas.microsoft.com/office/drawing/2014/main" id="{D26A5C3D-E25F-69FF-4342-84318AED13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0119" y="1407238"/>
            <a:ext cx="6399481" cy="4525439"/>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8E7D01C5-C1A1-4193-6562-5BE58B0348F0}"/>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674EFD42-3ED4-1EF6-3777-D4B6B0D5BF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02"/>
            <a:ext cx="6400800"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86F4FB97-0A99-9F9E-1367-72230D9A85B3}"/>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0B28E686-7B21-C761-CC3C-F6DB7AF533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9563"/>
            <a:ext cx="6408845" cy="4532060"/>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B601F7BC-251B-2AAA-BAD7-F29121116B9C}"/>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A picture containing diagram&#10;&#10;Description automatically generated">
            <a:extLst>
              <a:ext uri="{FF2B5EF4-FFF2-40B4-BE49-F238E27FC236}">
                <a16:creationId xmlns:a16="http://schemas.microsoft.com/office/drawing/2014/main" id="{C190D8C0-CD52-90AE-43BE-7D63F0D443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6B765737-3586-40C1-6721-28AE68307796}"/>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97D7A700-EBB5-5471-6887-750775A151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3846"/>
            <a:ext cx="6400800" cy="45263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41951731-1FDF-AB23-487E-86182999508C}"/>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56BFC6A9-E275-AD8F-16C9-240365CF8A8D}"/>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57F772CE-A2F1-4AA6-1995-F91A21C8E9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762"/>
            <a:ext cx="6400800"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A91D1F8B-B9AD-06C7-877B-EEE2CEEFF2EC}"/>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EC4E065C-3C22-25DD-C4B8-4E712A4D7205}"/>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BAC2B69-425D-DE66-8426-2B25A08E6D3E}"/>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08861" y="1812324"/>
            <a:ext cx="1198148" cy="2091613"/>
            <a:chOff x="8040444" y="2992125"/>
            <a:chExt cx="1198148" cy="2091613"/>
          </a:xfrm>
        </p:grpSpPr>
        <p:sp>
          <p:nvSpPr>
            <p:cNvPr id="21" name="TextBox 20">
              <a:extLst>
                <a:ext uri="{FF2B5EF4-FFF2-40B4-BE49-F238E27FC236}">
                  <a16:creationId xmlns:a16="http://schemas.microsoft.com/office/drawing/2014/main" id="{9A68ADBE-AECC-EE60-7E94-3675B33E08AE}"/>
                </a:ext>
              </a:extLst>
            </p:cNvPr>
            <p:cNvSpPr txBox="1"/>
            <p:nvPr/>
          </p:nvSpPr>
          <p:spPr>
            <a:xfrm>
              <a:off x="8040444" y="365586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1</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50837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29921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8639518" y="2992125"/>
              <a:ext cx="0" cy="66373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39518" y="4548415"/>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898462" y="1525462"/>
            <a:ext cx="1198148" cy="1985913"/>
            <a:chOff x="10466695" y="2486112"/>
            <a:chExt cx="1198148" cy="1985913"/>
          </a:xfrm>
        </p:grpSpPr>
        <p:sp>
          <p:nvSpPr>
            <p:cNvPr id="11" name="TextBox 10">
              <a:extLst>
                <a:ext uri="{FF2B5EF4-FFF2-40B4-BE49-F238E27FC236}">
                  <a16:creationId xmlns:a16="http://schemas.microsoft.com/office/drawing/2014/main" id="{09F5AE19-B4E3-7788-F25F-CDA80D596DAF}"/>
                </a:ext>
              </a:extLst>
            </p:cNvPr>
            <p:cNvSpPr txBox="1"/>
            <p:nvPr/>
          </p:nvSpPr>
          <p:spPr>
            <a:xfrm>
              <a:off x="10466695" y="292218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9.9</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11087" y="44720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14125" y="248611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p:cNvCxnSpPr>
            <p:nvPr/>
          </p:nvCxnSpPr>
          <p:spPr>
            <a:xfrm>
              <a:off x="11065769" y="2492646"/>
              <a:ext cx="0" cy="44858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65769" y="3814736"/>
              <a:ext cx="0" cy="6477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D2A29B2C-222C-BA5A-6930-C0F1FE00C344}"/>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89931738-7168-FFD5-90ED-37D9ECAE8C73}"/>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604FD1A-CFA0-232F-6E3B-6DA0D429E451}"/>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E0C8960B-D4B3-40AD-6419-4C1202D9FF01}"/>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AD52EE99-6B28-06E8-89DE-8144A3BF2984}"/>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22357553-261F-EDD7-8D70-6101DE1186A6}"/>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3908F113-63DA-57AA-ED4E-7FA19376640B}"/>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0361239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0F486905-3040-AACE-87B1-EEF85707E4C6}"/>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2829373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90</TotalTime>
  <Words>1457</Words>
  <Application>Microsoft Office PowerPoint</Application>
  <PresentationFormat>Widescreen</PresentationFormat>
  <Paragraphs>133</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64</cp:revision>
  <dcterms:created xsi:type="dcterms:W3CDTF">2022-07-04T13:32:28Z</dcterms:created>
  <dcterms:modified xsi:type="dcterms:W3CDTF">2023-03-05T15:04:32Z</dcterms:modified>
</cp:coreProperties>
</file>